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11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117252931323283"/>
          <c:y val="9.3422306959008578E-2"/>
          <c:w val="0.80134003350083749"/>
          <c:h val="0.8131553860819827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323</c:v>
                </c:pt>
                <c:pt idx="1">
                  <c:v>330</c:v>
                </c:pt>
                <c:pt idx="2">
                  <c:v>350</c:v>
                </c:pt>
                <c:pt idx="3">
                  <c:v>360</c:v>
                </c:pt>
                <c:pt idx="4">
                  <c:v>377</c:v>
                </c:pt>
                <c:pt idx="5">
                  <c:v>380</c:v>
                </c:pt>
                <c:pt idx="6">
                  <c:v>4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12-4B3E-BBC3-966CCB0922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62683840"/>
        <c:axId val="1"/>
      </c:barChart>
      <c:lineChart>
        <c:grouping val="standard"/>
        <c:varyColors val="0"/>
        <c:ser>
          <c:idx val="1"/>
          <c:order val="1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5112-4B3E-BBC3-966CCB0922DC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5112-4B3E-BBC3-966CCB0922DC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5112-4B3E-BBC3-966CCB0922DC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5112-4B3E-BBC3-966CCB0922DC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5112-4B3E-BBC3-966CCB0922DC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5112-4B3E-BBC3-966CCB0922DC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5112-4B3E-BBC3-966CCB0922DC}"/>
              </c:ext>
            </c:extLst>
          </c:dPt>
          <c:val>
            <c:numRef>
              <c:f>Sheet1!$A$2:$G$2</c:f>
              <c:numCache>
                <c:formatCode>General</c:formatCode>
                <c:ptCount val="7"/>
                <c:pt idx="0">
                  <c:v>36</c:v>
                </c:pt>
                <c:pt idx="1">
                  <c:v>38</c:v>
                </c:pt>
                <c:pt idx="2">
                  <c:v>39</c:v>
                </c:pt>
                <c:pt idx="3">
                  <c:v>40</c:v>
                </c:pt>
                <c:pt idx="4">
                  <c:v>42.22</c:v>
                </c:pt>
                <c:pt idx="5">
                  <c:v>41.63</c:v>
                </c:pt>
                <c:pt idx="6">
                  <c:v>58.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5112-4B3E-BBC3-966CCB0922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4626838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62683840"/>
        <c:crosses val="min"/>
        <c:crossBetween val="between"/>
        <c:majorUnit val="200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6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0&quot;k&quot;;&quot;-&quot;0&quot;k&quot;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"/>
        <c:crosses val="max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833333333333332E-2"/>
          <c:y val="5.2953156822810592E-2"/>
          <c:w val="0.95833333333333337"/>
          <c:h val="0.8940936863543788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val>
            <c:numRef>
              <c:f>Sheet1!$A$1:$E$1</c:f>
              <c:numCache>
                <c:formatCode>General</c:formatCode>
                <c:ptCount val="5"/>
                <c:pt idx="0">
                  <c:v>6528.5797839999996</c:v>
                </c:pt>
                <c:pt idx="1">
                  <c:v>14570.187377</c:v>
                </c:pt>
                <c:pt idx="2">
                  <c:v>23611.794969999999</c:v>
                </c:pt>
                <c:pt idx="3">
                  <c:v>30653.402563</c:v>
                </c:pt>
                <c:pt idx="4">
                  <c:v>33695.010155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9D-4576-B049-9F5CBB35F154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val>
            <c:numRef>
              <c:f>Sheet1!$A$2:$E$2</c:f>
              <c:numCache>
                <c:formatCode>General</c:formatCode>
                <c:ptCount val="5"/>
                <c:pt idx="0">
                  <c:v>10415.746495000001</c:v>
                </c:pt>
                <c:pt idx="1">
                  <c:v>11618.016970999999</c:v>
                </c:pt>
                <c:pt idx="2">
                  <c:v>12820.287446999999</c:v>
                </c:pt>
                <c:pt idx="3">
                  <c:v>13022.557922999997</c:v>
                </c:pt>
                <c:pt idx="4">
                  <c:v>14224.828398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9D-4576-B049-9F5CBB35F154}"/>
            </c:ext>
          </c:extLst>
        </c:ser>
        <c:ser>
          <c:idx val="2"/>
          <c:order val="2"/>
          <c:spPr>
            <a:solidFill>
              <a:schemeClr val="accent5"/>
            </a:solidFill>
            <a:ln>
              <a:noFill/>
            </a:ln>
          </c:spPr>
          <c:val>
            <c:numRef>
              <c:f>Sheet1!$A$3:$E$3</c:f>
              <c:numCache>
                <c:formatCode>General</c:formatCode>
                <c:ptCount val="5"/>
                <c:pt idx="0">
                  <c:v>10300.188625999999</c:v>
                </c:pt>
                <c:pt idx="1">
                  <c:v>13254.944547999999</c:v>
                </c:pt>
                <c:pt idx="2">
                  <c:v>16209.700469999996</c:v>
                </c:pt>
                <c:pt idx="3">
                  <c:v>19164.456392</c:v>
                </c:pt>
                <c:pt idx="4">
                  <c:v>22119.212314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39D-4576-B049-9F5CBB35F154}"/>
            </c:ext>
          </c:extLst>
        </c:ser>
        <c:ser>
          <c:idx val="3"/>
          <c:order val="3"/>
          <c:spPr>
            <a:solidFill>
              <a:schemeClr val="bg2"/>
            </a:solidFill>
            <a:ln>
              <a:noFill/>
            </a:ln>
          </c:spPr>
          <c:val>
            <c:numRef>
              <c:f>Sheet1!$A$4:$E$4</c:f>
              <c:numCache>
                <c:formatCode>General</c:formatCode>
                <c:ptCount val="5"/>
                <c:pt idx="0">
                  <c:v>4683.8126339999981</c:v>
                </c:pt>
                <c:pt idx="1">
                  <c:v>5622.2479820000008</c:v>
                </c:pt>
                <c:pt idx="2">
                  <c:v>6560.6833299999998</c:v>
                </c:pt>
                <c:pt idx="3">
                  <c:v>7499.1186780000062</c:v>
                </c:pt>
                <c:pt idx="4">
                  <c:v>8437.554025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39D-4576-B049-9F5CBB35F1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2730240"/>
        <c:axId val="1"/>
      </c:areaChart>
      <c:catAx>
        <c:axId val="4627302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zh-CN"/>
          </a:p>
        </c:txPr>
        <c:crossAx val="462730240"/>
        <c:crosses val="min"/>
        <c:crossBetween val="midCat"/>
        <c:majorUnit val="2000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376324442820606"/>
          <c:y val="9.1247672253258846E-2"/>
          <c:w val="0.87723785166240409"/>
          <c:h val="0.81750465549348228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val>
            <c:numRef>
              <c:f>Sheet1!$A$1:$E$1</c:f>
              <c:numCache>
                <c:formatCode>General</c:formatCode>
                <c:ptCount val="5"/>
                <c:pt idx="0">
                  <c:v>20.447609653294343</c:v>
                </c:pt>
                <c:pt idx="1">
                  <c:v>32.331208391316459</c:v>
                </c:pt>
                <c:pt idx="2">
                  <c:v>39.883127306645662</c:v>
                </c:pt>
                <c:pt idx="3">
                  <c:v>43.57919386401926</c:v>
                </c:pt>
                <c:pt idx="4">
                  <c:v>42.936376007962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82-4DA2-A1D6-6C588F5E2A2E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val>
            <c:numRef>
              <c:f>Sheet1!$A$2:$E$2</c:f>
              <c:numCache>
                <c:formatCode>General</c:formatCode>
                <c:ptCount val="5"/>
                <c:pt idx="0">
                  <c:v>32.622274005042428</c:v>
                </c:pt>
                <c:pt idx="1">
                  <c:v>25.780349837930039</c:v>
                </c:pt>
                <c:pt idx="2">
                  <c:v>21.654988831054222</c:v>
                </c:pt>
                <c:pt idx="3">
                  <c:v>18.513852586689662</c:v>
                </c:pt>
                <c:pt idx="4">
                  <c:v>18.1262026027151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A82-4DA2-A1D6-6C588F5E2A2E}"/>
            </c:ext>
          </c:extLst>
        </c:ser>
        <c:ser>
          <c:idx val="2"/>
          <c:order val="2"/>
          <c:spPr>
            <a:solidFill>
              <a:schemeClr val="accent5"/>
            </a:solidFill>
            <a:ln>
              <a:noFill/>
            </a:ln>
          </c:spPr>
          <c:val>
            <c:numRef>
              <c:f>Sheet1!$A$3:$E$3</c:f>
              <c:numCache>
                <c:formatCode>General</c:formatCode>
                <c:ptCount val="5"/>
                <c:pt idx="0">
                  <c:v>32.260345028778801</c:v>
                </c:pt>
                <c:pt idx="1">
                  <c:v>29.412687929684679</c:v>
                </c:pt>
                <c:pt idx="2">
                  <c:v>27.380110163967085</c:v>
                </c:pt>
                <c:pt idx="3">
                  <c:v>27.245639654163543</c:v>
                </c:pt>
                <c:pt idx="4">
                  <c:v>28.1857406339061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A82-4DA2-A1D6-6C588F5E2A2E}"/>
            </c:ext>
          </c:extLst>
        </c:ser>
        <c:ser>
          <c:idx val="3"/>
          <c:order val="3"/>
          <c:spPr>
            <a:solidFill>
              <a:schemeClr val="bg2"/>
            </a:solidFill>
            <a:ln>
              <a:noFill/>
            </a:ln>
          </c:spPr>
          <c:val>
            <c:numRef>
              <c:f>Sheet1!$A$4:$E$4</c:f>
              <c:numCache>
                <c:formatCode>General</c:formatCode>
                <c:ptCount val="5"/>
                <c:pt idx="0">
                  <c:v>14.669771312884428</c:v>
                </c:pt>
                <c:pt idx="1">
                  <c:v>12.475753841068826</c:v>
                </c:pt>
                <c:pt idx="2">
                  <c:v>11.08177369833302</c:v>
                </c:pt>
                <c:pt idx="3">
                  <c:v>10.661313895127533</c:v>
                </c:pt>
                <c:pt idx="4">
                  <c:v>10.751680755416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A82-4DA2-A1D6-6C588F5E2A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2786240"/>
        <c:axId val="1"/>
      </c:areaChart>
      <c:catAx>
        <c:axId val="4627862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62786240"/>
        <c:crosses val="min"/>
        <c:crossBetween val="midCat"/>
        <c:majorUnit val="2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787439613526575E-2"/>
          <c:y val="0.17427385892116182"/>
          <c:w val="0.88888888888888884"/>
          <c:h val="0.70788381742738593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15"/>
            <c:marker>
              <c:symbol val="circle"/>
              <c:size val="5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EA7A-49AD-8951-DDC4FB55C8CE}"/>
              </c:ext>
            </c:extLst>
          </c:dPt>
          <c:dLbls>
            <c:dLbl>
              <c:idx val="15"/>
              <c:layout>
                <c:manualLayout>
                  <c:x val="0"/>
                  <c:y val="-8.6307053941908712E-2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A7A-49AD-8951-DDC4FB55C8C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P$1</c:f>
              <c:numCache>
                <c:formatCode>General</c:formatCode>
                <c:ptCount val="16"/>
                <c:pt idx="0">
                  <c:v>19723</c:v>
                </c:pt>
                <c:pt idx="1">
                  <c:v>20089</c:v>
                </c:pt>
                <c:pt idx="2">
                  <c:v>20454</c:v>
                </c:pt>
                <c:pt idx="3">
                  <c:v>20819</c:v>
                </c:pt>
                <c:pt idx="4">
                  <c:v>21184</c:v>
                </c:pt>
                <c:pt idx="5">
                  <c:v>21550</c:v>
                </c:pt>
                <c:pt idx="6">
                  <c:v>21915</c:v>
                </c:pt>
                <c:pt idx="7">
                  <c:v>22280</c:v>
                </c:pt>
                <c:pt idx="8">
                  <c:v>22645</c:v>
                </c:pt>
                <c:pt idx="9">
                  <c:v>23011</c:v>
                </c:pt>
                <c:pt idx="10">
                  <c:v>23376</c:v>
                </c:pt>
                <c:pt idx="11">
                  <c:v>23741</c:v>
                </c:pt>
                <c:pt idx="12">
                  <c:v>24106</c:v>
                </c:pt>
                <c:pt idx="13">
                  <c:v>24472</c:v>
                </c:pt>
                <c:pt idx="14">
                  <c:v>24837</c:v>
                </c:pt>
                <c:pt idx="15">
                  <c:v>25202</c:v>
                </c:pt>
              </c:numCache>
            </c:numRef>
          </c:xVal>
          <c:yVal>
            <c:numRef>
              <c:f>Sheet1!$A$2:$P$2</c:f>
              <c:numCache>
                <c:formatCode>General</c:formatCode>
                <c:ptCount val="16"/>
                <c:pt idx="0">
                  <c:v>8</c:v>
                </c:pt>
                <c:pt idx="1">
                  <c:v>6</c:v>
                </c:pt>
                <c:pt idx="2">
                  <c:v>12</c:v>
                </c:pt>
                <c:pt idx="3">
                  <c:v>17</c:v>
                </c:pt>
                <c:pt idx="4">
                  <c:v>16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18.999999999999996</c:v>
                </c:pt>
                <c:pt idx="9">
                  <c:v>18.000000000000004</c:v>
                </c:pt>
                <c:pt idx="10">
                  <c:v>17</c:v>
                </c:pt>
                <c:pt idx="11">
                  <c:v>17</c:v>
                </c:pt>
                <c:pt idx="12">
                  <c:v>18.999999999999996</c:v>
                </c:pt>
                <c:pt idx="13">
                  <c:v>21</c:v>
                </c:pt>
                <c:pt idx="14">
                  <c:v>23</c:v>
                </c:pt>
                <c:pt idx="15">
                  <c:v>2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EA7A-49AD-8951-DDC4FB55C8CE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15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EA7A-49AD-8951-DDC4FB55C8CE}"/>
              </c:ext>
            </c:extLst>
          </c:dPt>
          <c:dLbls>
            <c:dLbl>
              <c:idx val="15"/>
              <c:layout>
                <c:manualLayout>
                  <c:x val="0"/>
                  <c:y val="8.6307053941908712E-2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A7A-49AD-8951-DDC4FB55C8C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P$1</c:f>
              <c:numCache>
                <c:formatCode>General</c:formatCode>
                <c:ptCount val="16"/>
                <c:pt idx="0">
                  <c:v>19723</c:v>
                </c:pt>
                <c:pt idx="1">
                  <c:v>20089</c:v>
                </c:pt>
                <c:pt idx="2">
                  <c:v>20454</c:v>
                </c:pt>
                <c:pt idx="3">
                  <c:v>20819</c:v>
                </c:pt>
                <c:pt idx="4">
                  <c:v>21184</c:v>
                </c:pt>
                <c:pt idx="5">
                  <c:v>21550</c:v>
                </c:pt>
                <c:pt idx="6">
                  <c:v>21915</c:v>
                </c:pt>
                <c:pt idx="7">
                  <c:v>22280</c:v>
                </c:pt>
                <c:pt idx="8">
                  <c:v>22645</c:v>
                </c:pt>
                <c:pt idx="9">
                  <c:v>23011</c:v>
                </c:pt>
                <c:pt idx="10">
                  <c:v>23376</c:v>
                </c:pt>
                <c:pt idx="11">
                  <c:v>23741</c:v>
                </c:pt>
                <c:pt idx="12">
                  <c:v>24106</c:v>
                </c:pt>
                <c:pt idx="13">
                  <c:v>24472</c:v>
                </c:pt>
                <c:pt idx="14">
                  <c:v>24837</c:v>
                </c:pt>
                <c:pt idx="15">
                  <c:v>25202</c:v>
                </c:pt>
              </c:numCache>
            </c:numRef>
          </c:xVal>
          <c:yVal>
            <c:numRef>
              <c:f>Sheet1!$A$3:$P$3</c:f>
              <c:numCache>
                <c:formatCode>General</c:formatCode>
                <c:ptCount val="16"/>
                <c:pt idx="0">
                  <c:v>5.0999999999999996</c:v>
                </c:pt>
                <c:pt idx="1">
                  <c:v>6</c:v>
                </c:pt>
                <c:pt idx="2">
                  <c:v>6.3000000000000007</c:v>
                </c:pt>
                <c:pt idx="3">
                  <c:v>6.6999999999999993</c:v>
                </c:pt>
                <c:pt idx="4">
                  <c:v>10.8</c:v>
                </c:pt>
                <c:pt idx="5">
                  <c:v>9.6999999999999993</c:v>
                </c:pt>
                <c:pt idx="6">
                  <c:v>7.8999999999999986</c:v>
                </c:pt>
                <c:pt idx="7">
                  <c:v>11.2</c:v>
                </c:pt>
                <c:pt idx="8">
                  <c:v>11.5</c:v>
                </c:pt>
                <c:pt idx="9">
                  <c:v>10.3</c:v>
                </c:pt>
                <c:pt idx="10">
                  <c:v>12.8</c:v>
                </c:pt>
                <c:pt idx="11">
                  <c:v>9.5</c:v>
                </c:pt>
                <c:pt idx="12">
                  <c:v>18.3</c:v>
                </c:pt>
                <c:pt idx="13">
                  <c:v>20.3</c:v>
                </c:pt>
                <c:pt idx="14">
                  <c:v>20.3</c:v>
                </c:pt>
                <c:pt idx="15">
                  <c:v>2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EA7A-49AD-8951-DDC4FB55C8CE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15"/>
            <c:marker>
              <c:symbol val="circle"/>
              <c:size val="5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EA7A-49AD-8951-DDC4FB55C8CE}"/>
              </c:ext>
            </c:extLst>
          </c:dPt>
          <c:dLbls>
            <c:dLbl>
              <c:idx val="15"/>
              <c:layout>
                <c:manualLayout>
                  <c:x val="0"/>
                  <c:y val="8.6307053941908712E-2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A7A-49AD-8951-DDC4FB55C8C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P$1</c:f>
              <c:numCache>
                <c:formatCode>General</c:formatCode>
                <c:ptCount val="16"/>
                <c:pt idx="0">
                  <c:v>19723</c:v>
                </c:pt>
                <c:pt idx="1">
                  <c:v>20089</c:v>
                </c:pt>
                <c:pt idx="2">
                  <c:v>20454</c:v>
                </c:pt>
                <c:pt idx="3">
                  <c:v>20819</c:v>
                </c:pt>
                <c:pt idx="4">
                  <c:v>21184</c:v>
                </c:pt>
                <c:pt idx="5">
                  <c:v>21550</c:v>
                </c:pt>
                <c:pt idx="6">
                  <c:v>21915</c:v>
                </c:pt>
                <c:pt idx="7">
                  <c:v>22280</c:v>
                </c:pt>
                <c:pt idx="8">
                  <c:v>22645</c:v>
                </c:pt>
                <c:pt idx="9">
                  <c:v>23011</c:v>
                </c:pt>
                <c:pt idx="10">
                  <c:v>23376</c:v>
                </c:pt>
                <c:pt idx="11">
                  <c:v>23741</c:v>
                </c:pt>
                <c:pt idx="12">
                  <c:v>24106</c:v>
                </c:pt>
                <c:pt idx="13">
                  <c:v>24472</c:v>
                </c:pt>
                <c:pt idx="14">
                  <c:v>24837</c:v>
                </c:pt>
                <c:pt idx="15">
                  <c:v>25202</c:v>
                </c:pt>
              </c:numCache>
            </c:numRef>
          </c:xVal>
          <c:yVal>
            <c:numRef>
              <c:f>Sheet1!$A$4:$P$4</c:f>
              <c:numCache>
                <c:formatCode>General</c:formatCode>
                <c:ptCount val="16"/>
                <c:pt idx="0">
                  <c:v>2.6999999999999993</c:v>
                </c:pt>
                <c:pt idx="1">
                  <c:v>3.4000000000000004</c:v>
                </c:pt>
                <c:pt idx="2">
                  <c:v>4.0999999999999996</c:v>
                </c:pt>
                <c:pt idx="3">
                  <c:v>4.3000000000000007</c:v>
                </c:pt>
                <c:pt idx="4">
                  <c:v>5.8000000000000007</c:v>
                </c:pt>
                <c:pt idx="5">
                  <c:v>5</c:v>
                </c:pt>
                <c:pt idx="6">
                  <c:v>5.0999999999999996</c:v>
                </c:pt>
                <c:pt idx="7">
                  <c:v>7.3000000000000007</c:v>
                </c:pt>
                <c:pt idx="8">
                  <c:v>8.6999999999999993</c:v>
                </c:pt>
                <c:pt idx="9">
                  <c:v>8.3000000000000007</c:v>
                </c:pt>
                <c:pt idx="10">
                  <c:v>9.1999999999999993</c:v>
                </c:pt>
                <c:pt idx="11">
                  <c:v>5.3000000000000007</c:v>
                </c:pt>
                <c:pt idx="12">
                  <c:v>14.2</c:v>
                </c:pt>
                <c:pt idx="13">
                  <c:v>15.399999999999999</c:v>
                </c:pt>
                <c:pt idx="14">
                  <c:v>16</c:v>
                </c:pt>
                <c:pt idx="15">
                  <c:v>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EA7A-49AD-8951-DDC4FB55C8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5567"/>
          <c:min val="19723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2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4"/>
        <c:crosses val="min"/>
        <c:crossBetween val="midCat"/>
        <c:majorUnit val="4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9B8D5A-00DD-4279-93A8-7455E525969B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AD984B-9E02-4499-BF07-B068E01B098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771095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89527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36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8539492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1580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449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714349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716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40975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29.xml"/><Relationship Id="rId21" Type="http://schemas.openxmlformats.org/officeDocument/2006/relationships/tags" Target="../tags/tag24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63" Type="http://schemas.openxmlformats.org/officeDocument/2006/relationships/tags" Target="../tags/tag66.xml"/><Relationship Id="rId68" Type="http://schemas.openxmlformats.org/officeDocument/2006/relationships/tags" Target="../tags/tag71.xml"/><Relationship Id="rId84" Type="http://schemas.openxmlformats.org/officeDocument/2006/relationships/tags" Target="../tags/tag87.xml"/><Relationship Id="rId89" Type="http://schemas.openxmlformats.org/officeDocument/2006/relationships/tags" Target="../tags/tag92.xml"/><Relationship Id="rId16" Type="http://schemas.openxmlformats.org/officeDocument/2006/relationships/tags" Target="../tags/tag19.xml"/><Relationship Id="rId11" Type="http://schemas.openxmlformats.org/officeDocument/2006/relationships/tags" Target="../tags/tag14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53" Type="http://schemas.openxmlformats.org/officeDocument/2006/relationships/tags" Target="../tags/tag56.xml"/><Relationship Id="rId58" Type="http://schemas.openxmlformats.org/officeDocument/2006/relationships/tags" Target="../tags/tag61.xml"/><Relationship Id="rId74" Type="http://schemas.openxmlformats.org/officeDocument/2006/relationships/tags" Target="../tags/tag77.xml"/><Relationship Id="rId79" Type="http://schemas.openxmlformats.org/officeDocument/2006/relationships/tags" Target="../tags/tag82.xml"/><Relationship Id="rId5" Type="http://schemas.openxmlformats.org/officeDocument/2006/relationships/tags" Target="../tags/tag8.xml"/><Relationship Id="rId90" Type="http://schemas.openxmlformats.org/officeDocument/2006/relationships/tags" Target="../tags/tag93.xml"/><Relationship Id="rId95" Type="http://schemas.openxmlformats.org/officeDocument/2006/relationships/notesSlide" Target="../notesSlides/notesSlide1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64" Type="http://schemas.openxmlformats.org/officeDocument/2006/relationships/tags" Target="../tags/tag67.xml"/><Relationship Id="rId69" Type="http://schemas.openxmlformats.org/officeDocument/2006/relationships/tags" Target="../tags/tag72.xml"/><Relationship Id="rId80" Type="http://schemas.openxmlformats.org/officeDocument/2006/relationships/tags" Target="../tags/tag83.xml"/><Relationship Id="rId85" Type="http://schemas.openxmlformats.org/officeDocument/2006/relationships/tags" Target="../tags/tag88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59" Type="http://schemas.openxmlformats.org/officeDocument/2006/relationships/tags" Target="../tags/tag62.xml"/><Relationship Id="rId67" Type="http://schemas.openxmlformats.org/officeDocument/2006/relationships/tags" Target="../tags/tag70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tags" Target="../tags/tag57.xml"/><Relationship Id="rId62" Type="http://schemas.openxmlformats.org/officeDocument/2006/relationships/tags" Target="../tags/tag65.xml"/><Relationship Id="rId70" Type="http://schemas.openxmlformats.org/officeDocument/2006/relationships/tags" Target="../tags/tag73.xml"/><Relationship Id="rId75" Type="http://schemas.openxmlformats.org/officeDocument/2006/relationships/tags" Target="../tags/tag78.xml"/><Relationship Id="rId83" Type="http://schemas.openxmlformats.org/officeDocument/2006/relationships/tags" Target="../tags/tag86.xml"/><Relationship Id="rId88" Type="http://schemas.openxmlformats.org/officeDocument/2006/relationships/tags" Target="../tags/tag91.xml"/><Relationship Id="rId91" Type="http://schemas.openxmlformats.org/officeDocument/2006/relationships/tags" Target="../tags/tag94.xml"/><Relationship Id="rId9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57" Type="http://schemas.openxmlformats.org/officeDocument/2006/relationships/tags" Target="../tags/tag60.xml"/><Relationship Id="rId10" Type="http://schemas.openxmlformats.org/officeDocument/2006/relationships/tags" Target="../tags/tag13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tags" Target="../tags/tag55.xml"/><Relationship Id="rId60" Type="http://schemas.openxmlformats.org/officeDocument/2006/relationships/tags" Target="../tags/tag63.xml"/><Relationship Id="rId65" Type="http://schemas.openxmlformats.org/officeDocument/2006/relationships/tags" Target="../tags/tag68.xml"/><Relationship Id="rId73" Type="http://schemas.openxmlformats.org/officeDocument/2006/relationships/tags" Target="../tags/tag76.xml"/><Relationship Id="rId78" Type="http://schemas.openxmlformats.org/officeDocument/2006/relationships/tags" Target="../tags/tag81.xml"/><Relationship Id="rId81" Type="http://schemas.openxmlformats.org/officeDocument/2006/relationships/tags" Target="../tags/tag84.xml"/><Relationship Id="rId86" Type="http://schemas.openxmlformats.org/officeDocument/2006/relationships/tags" Target="../tags/tag89.xml"/><Relationship Id="rId94" Type="http://schemas.openxmlformats.org/officeDocument/2006/relationships/slideLayout" Target="../slideLayouts/slideLayout5.xml"/><Relationship Id="rId99" Type="http://schemas.openxmlformats.org/officeDocument/2006/relationships/chart" Target="../charts/chart2.xml"/><Relationship Id="rId101" Type="http://schemas.openxmlformats.org/officeDocument/2006/relationships/chart" Target="../charts/chart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9" Type="http://schemas.openxmlformats.org/officeDocument/2006/relationships/tags" Target="../tags/tag42.xml"/><Relationship Id="rId34" Type="http://schemas.openxmlformats.org/officeDocument/2006/relationships/tags" Target="../tags/tag37.xml"/><Relationship Id="rId50" Type="http://schemas.openxmlformats.org/officeDocument/2006/relationships/tags" Target="../tags/tag53.xml"/><Relationship Id="rId55" Type="http://schemas.openxmlformats.org/officeDocument/2006/relationships/tags" Target="../tags/tag58.xml"/><Relationship Id="rId76" Type="http://schemas.openxmlformats.org/officeDocument/2006/relationships/tags" Target="../tags/tag79.xml"/><Relationship Id="rId97" Type="http://schemas.openxmlformats.org/officeDocument/2006/relationships/image" Target="../media/image4.emf"/><Relationship Id="rId7" Type="http://schemas.openxmlformats.org/officeDocument/2006/relationships/tags" Target="../tags/tag10.xml"/><Relationship Id="rId71" Type="http://schemas.openxmlformats.org/officeDocument/2006/relationships/tags" Target="../tags/tag74.xml"/><Relationship Id="rId92" Type="http://schemas.openxmlformats.org/officeDocument/2006/relationships/tags" Target="../tags/tag95.xml"/><Relationship Id="rId2" Type="http://schemas.openxmlformats.org/officeDocument/2006/relationships/tags" Target="../tags/tag5.xml"/><Relationship Id="rId29" Type="http://schemas.openxmlformats.org/officeDocument/2006/relationships/tags" Target="../tags/tag32.xml"/><Relationship Id="rId24" Type="http://schemas.openxmlformats.org/officeDocument/2006/relationships/tags" Target="../tags/tag27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66" Type="http://schemas.openxmlformats.org/officeDocument/2006/relationships/tags" Target="../tags/tag69.xml"/><Relationship Id="rId87" Type="http://schemas.openxmlformats.org/officeDocument/2006/relationships/tags" Target="../tags/tag90.xml"/><Relationship Id="rId61" Type="http://schemas.openxmlformats.org/officeDocument/2006/relationships/tags" Target="../tags/tag64.xml"/><Relationship Id="rId82" Type="http://schemas.openxmlformats.org/officeDocument/2006/relationships/tags" Target="../tags/tag85.xml"/><Relationship Id="rId19" Type="http://schemas.openxmlformats.org/officeDocument/2006/relationships/tags" Target="../tags/tag22.xml"/><Relationship Id="rId14" Type="http://schemas.openxmlformats.org/officeDocument/2006/relationships/tags" Target="../tags/tag17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56" Type="http://schemas.openxmlformats.org/officeDocument/2006/relationships/tags" Target="../tags/tag59.xml"/><Relationship Id="rId77" Type="http://schemas.openxmlformats.org/officeDocument/2006/relationships/tags" Target="../tags/tag80.xml"/><Relationship Id="rId100" Type="http://schemas.openxmlformats.org/officeDocument/2006/relationships/chart" Target="../charts/chart3.xml"/><Relationship Id="rId8" Type="http://schemas.openxmlformats.org/officeDocument/2006/relationships/tags" Target="../tags/tag11.xml"/><Relationship Id="rId51" Type="http://schemas.openxmlformats.org/officeDocument/2006/relationships/tags" Target="../tags/tag54.xml"/><Relationship Id="rId72" Type="http://schemas.openxmlformats.org/officeDocument/2006/relationships/tags" Target="../tags/tag75.xml"/><Relationship Id="rId93" Type="http://schemas.openxmlformats.org/officeDocument/2006/relationships/tags" Target="../tags/tag96.xml"/><Relationship Id="rId98" Type="http://schemas.openxmlformats.org/officeDocument/2006/relationships/chart" Target="../charts/chart1.xml"/><Relationship Id="rId3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96" imgW="349" imgH="350" progId="TCLayout.ActiveDocument.1">
                  <p:embed/>
                </p:oleObj>
              </mc:Choice>
              <mc:Fallback>
                <p:oleObj name="think-cell 幻灯片" r:id="rId9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Line, area, area 100%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797C923-9F7B-153F-A9FD-FB3D74C6416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48199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columns, bar, bars, think-cell, chart, charts, graph, graphs, comment</a:t>
            </a:r>
          </a:p>
        </p:txBody>
      </p:sp>
      <p:graphicFrame>
        <p:nvGraphicFramePr>
          <p:cNvPr id="116" name="Chart 3">
            <a:extLst>
              <a:ext uri="{FF2B5EF4-FFF2-40B4-BE49-F238E27FC236}">
                <a16:creationId xmlns:a16="http://schemas.microsoft.com/office/drawing/2014/main" id="{1CA55811-63CC-4DB5-AA21-BF389BB2E5E4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6083300" y="2035175"/>
          <a:ext cx="4738688" cy="1665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8"/>
          </a:graphicData>
        </a:graphic>
      </p:graphicFrame>
      <p:sp useBgFill="1">
        <p:nvSpPr>
          <p:cNvPr id="6" name="任意多边形: 形状 5">
            <a:extLst>
              <a:ext uri="{FF2B5EF4-FFF2-40B4-BE49-F238E27FC236}">
                <a16:creationId xmlns:a16="http://schemas.microsoft.com/office/drawing/2014/main" id="{B425CAB1-8EFB-4D50-91F2-A3D37A5F6DD5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9777413" y="2292350"/>
            <a:ext cx="79376" cy="247651"/>
          </a:xfrm>
          <a:custGeom>
            <a:avLst/>
            <a:gdLst/>
            <a:ahLst/>
            <a:cxnLst/>
            <a:rect l="0" t="0" r="0" b="0"/>
            <a:pathLst>
              <a:path w="79376" h="247651">
                <a:moveTo>
                  <a:pt x="79375" y="0"/>
                </a:moveTo>
                <a:lnTo>
                  <a:pt x="57150" y="82550"/>
                </a:lnTo>
                <a:lnTo>
                  <a:pt x="79375" y="165100"/>
                </a:lnTo>
                <a:lnTo>
                  <a:pt x="57150" y="247650"/>
                </a:lnTo>
                <a:lnTo>
                  <a:pt x="0" y="247650"/>
                </a:lnTo>
                <a:lnTo>
                  <a:pt x="22225" y="165100"/>
                </a:lnTo>
                <a:lnTo>
                  <a:pt x="0" y="82550"/>
                </a:lnTo>
                <a:lnTo>
                  <a:pt x="22225" y="0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 useBgFill="1">
        <p:nvSpPr>
          <p:cNvPr id="9" name="任意多边形: 形状 8">
            <a:extLst>
              <a:ext uri="{FF2B5EF4-FFF2-40B4-BE49-F238E27FC236}">
                <a16:creationId xmlns:a16="http://schemas.microsoft.com/office/drawing/2014/main" id="{C08A9690-5E05-491B-A280-5A3A9DB686C8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769475" y="3471863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" name="任意多边形: 形状 2">
            <a:extLst>
              <a:ext uri="{FF2B5EF4-FFF2-40B4-BE49-F238E27FC236}">
                <a16:creationId xmlns:a16="http://schemas.microsoft.com/office/drawing/2014/main" id="{FDBC238D-D106-4A96-8AA3-4319657E3D0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9777413" y="2292350"/>
            <a:ext cx="22226" cy="247651"/>
          </a:xfrm>
          <a:custGeom>
            <a:avLst/>
            <a:gdLst/>
            <a:ahLst/>
            <a:cxnLst/>
            <a:rect l="0" t="0" r="0" b="0"/>
            <a:pathLst>
              <a:path w="22226" h="247651">
                <a:moveTo>
                  <a:pt x="22225" y="0"/>
                </a:moveTo>
                <a:lnTo>
                  <a:pt x="0" y="82550"/>
                </a:lnTo>
                <a:lnTo>
                  <a:pt x="22225" y="165100"/>
                </a:lnTo>
                <a:lnTo>
                  <a:pt x="0" y="247650"/>
                </a:lnTo>
              </a:path>
            </a:pathLst>
          </a:custGeom>
          <a:noFill/>
          <a:ln w="9525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" name="任意多边形: 形状 3">
            <a:extLst>
              <a:ext uri="{FF2B5EF4-FFF2-40B4-BE49-F238E27FC236}">
                <a16:creationId xmlns:a16="http://schemas.microsoft.com/office/drawing/2014/main" id="{F4F07D0B-B7B8-4341-9B5C-35C0C7EFCFF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9834563" y="2292350"/>
            <a:ext cx="22226" cy="247651"/>
          </a:xfrm>
          <a:custGeom>
            <a:avLst/>
            <a:gdLst/>
            <a:ahLst/>
            <a:cxnLst/>
            <a:rect l="0" t="0" r="0" b="0"/>
            <a:pathLst>
              <a:path w="22226" h="247651">
                <a:moveTo>
                  <a:pt x="22225" y="0"/>
                </a:moveTo>
                <a:lnTo>
                  <a:pt x="0" y="82550"/>
                </a:lnTo>
                <a:lnTo>
                  <a:pt x="22225" y="165100"/>
                </a:lnTo>
                <a:lnTo>
                  <a:pt x="0" y="247650"/>
                </a:lnTo>
              </a:path>
            </a:pathLst>
          </a:custGeom>
          <a:noFill/>
          <a:ln w="9525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DDD9F8BB-9461-4125-BE17-08169F02205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769475" y="3471863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9E9378CB-3A79-4A49-B78F-ACEAF1FA1E4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9826625" y="3471863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05" name="Text Placeholder 2">
            <a:extLst>
              <a:ext uri="{FF2B5EF4-FFF2-40B4-BE49-F238E27FC236}">
                <a16:creationId xmlns:a16="http://schemas.microsoft.com/office/drawing/2014/main" id="{88B01BC7-BACC-06BD-1DF8-8CF9CD8DAAB2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6186487" y="1860550"/>
            <a:ext cx="528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evenue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06" name="Text Placeholder 2">
            <a:extLst>
              <a:ext uri="{FF2B5EF4-FFF2-40B4-BE49-F238E27FC236}">
                <a16:creationId xmlns:a16="http://schemas.microsoft.com/office/drawing/2014/main" id="{E07BDED1-06A0-5A9C-B6E5-48945B1FE771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10112375" y="1860550"/>
            <a:ext cx="6064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Units sold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07" name="Text Placeholder 2">
            <a:extLst>
              <a:ext uri="{FF2B5EF4-FFF2-40B4-BE49-F238E27FC236}">
                <a16:creationId xmlns:a16="http://schemas.microsoft.com/office/drawing/2014/main" id="{B8791EA3-3C69-DDB5-FB2A-D68BA6E229F2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6667500" y="3587750"/>
            <a:ext cx="3349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8903B8F-28DA-4ABD-B467-3E9FD53673B2}" type="datetime'''''''''''''''''''''''20''''2''4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08" name="Text Placeholder 2">
            <a:extLst>
              <a:ext uri="{FF2B5EF4-FFF2-40B4-BE49-F238E27FC236}">
                <a16:creationId xmlns:a16="http://schemas.microsoft.com/office/drawing/2014/main" id="{06E76424-B192-189F-B637-9810EDE1899F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7208838" y="3587750"/>
            <a:ext cx="3349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8B8FE84-3B3A-457C-ACA3-058059EBF2A3}" type="datetime'''''''''''''''''''2''''''0''2''''''''5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09" name="Text Placeholder 2">
            <a:extLst>
              <a:ext uri="{FF2B5EF4-FFF2-40B4-BE49-F238E27FC236}">
                <a16:creationId xmlns:a16="http://schemas.microsoft.com/office/drawing/2014/main" id="{BF6DB822-1542-6987-815E-9269F747AC00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7751763" y="3587750"/>
            <a:ext cx="3333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02576EA-984C-456E-B2DA-28A2181E685B}" type="datetime'''''''''''''''''''''''''''''''''2''0''''2''''''''''6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6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10" name="Text Placeholder 2">
            <a:extLst>
              <a:ext uri="{FF2B5EF4-FFF2-40B4-BE49-F238E27FC236}">
                <a16:creationId xmlns:a16="http://schemas.microsoft.com/office/drawing/2014/main" id="{838137EC-45B9-E746-FAA2-54EF1C6007D9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8299450" y="3587750"/>
            <a:ext cx="323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741EB14-BA25-46AB-B84D-CAC4FF4A0F57}" type="datetime'''2''''''''''''''0''''''''''''2''''''''''7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11" name="Text Placeholder 2">
            <a:extLst>
              <a:ext uri="{FF2B5EF4-FFF2-40B4-BE49-F238E27FC236}">
                <a16:creationId xmlns:a16="http://schemas.microsoft.com/office/drawing/2014/main" id="{B2B8F63A-7114-B0BA-2612-443A2E4129D2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8836025" y="3587750"/>
            <a:ext cx="336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350B763-1584-4C1A-91D3-FAC6FB74384C}" type="datetime'''''''''''2''''''''''0''''''2''''''8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8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45E6953A-4E93-2984-0234-8E33012D5107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9378950" y="3587750"/>
            <a:ext cx="3333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2FCEA06-64A3-45B1-ADC1-2B227C5D76B4}" type="datetime'''''''''''''''''''''''''''20''''''2''''''''''''''9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13" name="Text Placeholder 2">
            <a:extLst>
              <a:ext uri="{FF2B5EF4-FFF2-40B4-BE49-F238E27FC236}">
                <a16:creationId xmlns:a16="http://schemas.microsoft.com/office/drawing/2014/main" id="{B4725574-E2C7-3A7E-0AAB-D8E791F51010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9921875" y="3587750"/>
            <a:ext cx="3333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41BEF6A-2C93-4959-9853-A9C6CC98F4D7}" type="datetime'''''''''2''''''''''''''''''''''''0''''''3''''''5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3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414" name="Straight Connector 413">
            <a:extLst>
              <a:ext uri="{FF2B5EF4-FFF2-40B4-BE49-F238E27FC236}">
                <a16:creationId xmlns:a16="http://schemas.microsoft.com/office/drawing/2014/main" id="{E8EC4944-90F9-294A-5C67-0B9E38ADB268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gray">
          <a:xfrm>
            <a:off x="10920413" y="2312988"/>
            <a:ext cx="233363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5" name="Rectangle 414">
            <a:extLst>
              <a:ext uri="{FF2B5EF4-FFF2-40B4-BE49-F238E27FC236}">
                <a16:creationId xmlns:a16="http://schemas.microsoft.com/office/drawing/2014/main" id="{4445C43F-67AB-5BEA-B9D9-C8FD86AE1B57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10983913" y="2449513"/>
            <a:ext cx="179388" cy="13335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16" name="Oval 415">
            <a:extLst>
              <a:ext uri="{FF2B5EF4-FFF2-40B4-BE49-F238E27FC236}">
                <a16:creationId xmlns:a16="http://schemas.microsoft.com/office/drawing/2014/main" id="{23BD9F95-45A4-6CCF-05DD-E5103647C3B8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11004550" y="2281238"/>
            <a:ext cx="63500" cy="63500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17" name="Rectangle 27">
            <a:extLst>
              <a:ext uri="{FF2B5EF4-FFF2-40B4-BE49-F238E27FC236}">
                <a16:creationId xmlns:a16="http://schemas.microsoft.com/office/drawing/2014/main" id="{540C2801-5285-77C9-5ADE-332B3EE589D6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1214100" y="2241550"/>
            <a:ext cx="60642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E98D19-BA1A-47F6-BBF8-DA348604DC3F}" type="datetime'U''''n''''''''''''i''''''t''''''s ''s''o''''l''''d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Units sold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18" name="Rectangle 27">
            <a:extLst>
              <a:ext uri="{FF2B5EF4-FFF2-40B4-BE49-F238E27FC236}">
                <a16:creationId xmlns:a16="http://schemas.microsoft.com/office/drawing/2014/main" id="{5F56D940-0F46-B7F5-F7AA-3E0CC14154DB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11214099" y="2444750"/>
            <a:ext cx="52863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EEE94C8-F64F-437A-9ED1-04DDA3996687}" type="datetime'''''''''''''''''''''''R''e''''v''''''en''''''''u''e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Revenue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pSp>
        <p:nvGrpSpPr>
          <p:cNvPr id="377" name="tc_columnheader">
            <a:extLst>
              <a:ext uri="{FF2B5EF4-FFF2-40B4-BE49-F238E27FC236}">
                <a16:creationId xmlns:a16="http://schemas.microsoft.com/office/drawing/2014/main" id="{7685BAF7-F438-EEBF-8767-94027E466EA9}"/>
              </a:ext>
            </a:extLst>
          </p:cNvPr>
          <p:cNvGrpSpPr/>
          <p:nvPr/>
        </p:nvGrpSpPr>
        <p:grpSpPr>
          <a:xfrm>
            <a:off x="407987" y="1557338"/>
            <a:ext cx="5604598" cy="251795"/>
            <a:chOff x="407988" y="1557338"/>
            <a:chExt cx="5576400" cy="251795"/>
          </a:xfrm>
        </p:grpSpPr>
        <p:sp>
          <p:nvSpPr>
            <p:cNvPr id="378" name="tc_columnhead">
              <a:extLst>
                <a:ext uri="{FF2B5EF4-FFF2-40B4-BE49-F238E27FC236}">
                  <a16:creationId xmlns:a16="http://schemas.microsoft.com/office/drawing/2014/main" id="{E9F39C6C-F637-0044-A903-67181B921DBF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5576400" cy="251795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Line</a:t>
              </a:r>
            </a:p>
          </p:txBody>
        </p:sp>
        <p:cxnSp>
          <p:nvCxnSpPr>
            <p:cNvPr id="379" name="tc_columnheadline">
              <a:extLst>
                <a:ext uri="{FF2B5EF4-FFF2-40B4-BE49-F238E27FC236}">
                  <a16:creationId xmlns:a16="http://schemas.microsoft.com/office/drawing/2014/main" id="{99CF2DCD-9571-0A3B-162F-D170F238C109}"/>
                </a:ext>
              </a:extLst>
            </p:cNvPr>
            <p:cNvCxnSpPr>
              <a:cxnSpLocks/>
              <a:stCxn id="378" idx="4"/>
              <a:endCxn id="378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7" name="tc_columnheader">
            <a:extLst>
              <a:ext uri="{FF2B5EF4-FFF2-40B4-BE49-F238E27FC236}">
                <a16:creationId xmlns:a16="http://schemas.microsoft.com/office/drawing/2014/main" id="{63549AF3-3F4F-5D69-268A-E34B8855494F}"/>
              </a:ext>
            </a:extLst>
          </p:cNvPr>
          <p:cNvGrpSpPr/>
          <p:nvPr/>
        </p:nvGrpSpPr>
        <p:grpSpPr>
          <a:xfrm>
            <a:off x="407988" y="3869489"/>
            <a:ext cx="5604598" cy="251795"/>
            <a:chOff x="407988" y="1557338"/>
            <a:chExt cx="5576400" cy="251795"/>
          </a:xfrm>
        </p:grpSpPr>
        <p:sp>
          <p:nvSpPr>
            <p:cNvPr id="388" name="tc_columnhead">
              <a:extLst>
                <a:ext uri="{FF2B5EF4-FFF2-40B4-BE49-F238E27FC236}">
                  <a16:creationId xmlns:a16="http://schemas.microsoft.com/office/drawing/2014/main" id="{C34DF783-F42F-0EFA-0746-D58E58FA8726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5576400" cy="251795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Area</a:t>
              </a:r>
            </a:p>
          </p:txBody>
        </p:sp>
        <p:cxnSp>
          <p:nvCxnSpPr>
            <p:cNvPr id="389" name="tc_columnheadline">
              <a:extLst>
                <a:ext uri="{FF2B5EF4-FFF2-40B4-BE49-F238E27FC236}">
                  <a16:creationId xmlns:a16="http://schemas.microsoft.com/office/drawing/2014/main" id="{6D20E02F-0C76-6C9D-514B-484F8490829D}"/>
                </a:ext>
              </a:extLst>
            </p:cNvPr>
            <p:cNvCxnSpPr>
              <a:cxnSpLocks/>
              <a:stCxn id="388" idx="4"/>
              <a:endCxn id="388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6" name="tc_columnheader">
            <a:extLst>
              <a:ext uri="{FF2B5EF4-FFF2-40B4-BE49-F238E27FC236}">
                <a16:creationId xmlns:a16="http://schemas.microsoft.com/office/drawing/2014/main" id="{D3B919DC-D678-5BC3-7B01-6A023186ED76}"/>
              </a:ext>
            </a:extLst>
          </p:cNvPr>
          <p:cNvGrpSpPr/>
          <p:nvPr/>
        </p:nvGrpSpPr>
        <p:grpSpPr>
          <a:xfrm>
            <a:off x="6215927" y="1557337"/>
            <a:ext cx="5604598" cy="251795"/>
            <a:chOff x="407988" y="1557338"/>
            <a:chExt cx="5576400" cy="251795"/>
          </a:xfrm>
        </p:grpSpPr>
        <p:sp>
          <p:nvSpPr>
            <p:cNvPr id="397" name="tc_columnhead">
              <a:extLst>
                <a:ext uri="{FF2B5EF4-FFF2-40B4-BE49-F238E27FC236}">
                  <a16:creationId xmlns:a16="http://schemas.microsoft.com/office/drawing/2014/main" id="{ADB3B175-3573-4EF7-F1E4-CB7C9CBF0D58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5576400" cy="251795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Combination</a:t>
              </a:r>
            </a:p>
          </p:txBody>
        </p:sp>
        <p:cxnSp>
          <p:nvCxnSpPr>
            <p:cNvPr id="398" name="tc_columnheadline">
              <a:extLst>
                <a:ext uri="{FF2B5EF4-FFF2-40B4-BE49-F238E27FC236}">
                  <a16:creationId xmlns:a16="http://schemas.microsoft.com/office/drawing/2014/main" id="{8D0710A6-D817-03AF-9889-2BEFB8AB1EFA}"/>
                </a:ext>
              </a:extLst>
            </p:cNvPr>
            <p:cNvCxnSpPr>
              <a:cxnSpLocks/>
              <a:stCxn id="397" idx="4"/>
              <a:endCxn id="397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9" name="tc_columnheader">
            <a:extLst>
              <a:ext uri="{FF2B5EF4-FFF2-40B4-BE49-F238E27FC236}">
                <a16:creationId xmlns:a16="http://schemas.microsoft.com/office/drawing/2014/main" id="{7F6F6070-767F-7090-DE7F-D5E996D3BAAD}"/>
              </a:ext>
            </a:extLst>
          </p:cNvPr>
          <p:cNvGrpSpPr/>
          <p:nvPr/>
        </p:nvGrpSpPr>
        <p:grpSpPr>
          <a:xfrm>
            <a:off x="6215927" y="3869489"/>
            <a:ext cx="5604598" cy="251795"/>
            <a:chOff x="407988" y="1557338"/>
            <a:chExt cx="5576400" cy="251795"/>
          </a:xfrm>
        </p:grpSpPr>
        <p:sp>
          <p:nvSpPr>
            <p:cNvPr id="440" name="tc_columnhead">
              <a:extLst>
                <a:ext uri="{FF2B5EF4-FFF2-40B4-BE49-F238E27FC236}">
                  <a16:creationId xmlns:a16="http://schemas.microsoft.com/office/drawing/2014/main" id="{98D33CAD-3809-6FA2-E47A-299485FD2711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5576400" cy="251795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Area 100%</a:t>
              </a:r>
            </a:p>
          </p:txBody>
        </p:sp>
        <p:cxnSp>
          <p:nvCxnSpPr>
            <p:cNvPr id="441" name="tc_columnheadline">
              <a:extLst>
                <a:ext uri="{FF2B5EF4-FFF2-40B4-BE49-F238E27FC236}">
                  <a16:creationId xmlns:a16="http://schemas.microsoft.com/office/drawing/2014/main" id="{BE4A506C-49B5-28D8-A1DE-ABC949B0AF71}"/>
                </a:ext>
              </a:extLst>
            </p:cNvPr>
            <p:cNvCxnSpPr>
              <a:cxnSpLocks/>
              <a:stCxn id="440" idx="4"/>
              <a:endCxn id="440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17" name="Chart 3">
            <a:extLst>
              <a:ext uri="{FF2B5EF4-FFF2-40B4-BE49-F238E27FC236}">
                <a16:creationId xmlns:a16="http://schemas.microsoft.com/office/drawing/2014/main" id="{DFBCA045-4DB3-4E86-B930-A55D50AE9AFF}"/>
              </a:ext>
            </a:extLst>
          </p:cNvPr>
          <p:cNvGraphicFramePr/>
          <p:nvPr>
            <p:custDataLst>
              <p:tags r:id="rId24"/>
            </p:custDataLst>
            <p:extLst/>
          </p:nvPr>
        </p:nvGraphicFramePr>
        <p:xfrm>
          <a:off x="590550" y="4413250"/>
          <a:ext cx="3962400" cy="1558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9"/>
          </a:graphicData>
        </a:graphic>
      </p:graphicFrame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17B17DA5-54A2-6764-DDC6-6B30438BC86D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461963" y="5826125"/>
            <a:ext cx="825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E485F97-5C60-4FA0-A905-5D7AE642A460}" type="datetime'''''''''''''''''''''''''''''''''''''''''''''''''''''''0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337E0BD8-2871-7329-B07E-32407961C687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382588" y="5465763"/>
            <a:ext cx="161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5871C91-5E7A-4989-A182-1D5085602894}" type="datetime'''''''''''''''''''''''''2''''''''''''''''''0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4" name="Text Placeholder 2">
            <a:extLst>
              <a:ext uri="{FF2B5EF4-FFF2-40B4-BE49-F238E27FC236}">
                <a16:creationId xmlns:a16="http://schemas.microsoft.com/office/drawing/2014/main" id="{982FC3F2-D3DE-D05D-EB19-86A616D1E0CE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381000" y="5116513"/>
            <a:ext cx="1635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41D4C60-ADC4-4998-83F3-CA05C3DB2C5B}" type="datetime'''''''4''''''''''''''''0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FC07101A-1C98-BD8D-0ED9-C24C0506BD1F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382588" y="4768850"/>
            <a:ext cx="161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14B81EE-E228-45DD-A15D-04E788923E48}" type="datetime'''''''''''''''6''''''''''''0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CE2E0C44-BF8B-A929-CC85-77BE1B147C8A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379413" y="4419600"/>
            <a:ext cx="165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6F815E8-3537-4EDB-8E0B-54A068B58CF3}" type="datetime'''8''''''''''''0''''''''''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45" name="Rectangle 44">
            <a:extLst>
              <a:ext uri="{FF2B5EF4-FFF2-40B4-BE49-F238E27FC236}">
                <a16:creationId xmlns:a16="http://schemas.microsoft.com/office/drawing/2014/main" id="{6A497067-5254-0F9A-D75D-F3A7DCA3876F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379413" y="4165600"/>
            <a:ext cx="100012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Growth [USD m]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50" name="Rectangle 3">
            <a:extLst>
              <a:ext uri="{FF2B5EF4-FFF2-40B4-BE49-F238E27FC236}">
                <a16:creationId xmlns:a16="http://schemas.microsoft.com/office/drawing/2014/main" id="{06CBCAF5-29B1-088F-DE6B-F03528757081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17525" y="5932488"/>
            <a:ext cx="3111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F27F7C2-0F87-48E2-9017-4A91F4B0A4B9}" type="datetime'''''''''2''0''''''''1''''''''''''''''''''''''''''''''8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8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0" name="Rectangle 12">
            <a:extLst>
              <a:ext uri="{FF2B5EF4-FFF2-40B4-BE49-F238E27FC236}">
                <a16:creationId xmlns:a16="http://schemas.microsoft.com/office/drawing/2014/main" id="{C864DB4C-4897-166F-A704-5E89E4AC920F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1455738" y="5932488"/>
            <a:ext cx="33337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FF9D3-8647-4953-85AA-9EF842B113E0}" type="datetime'''''''''''''''''''''''''''''20''22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59" name="Rectangle 13">
            <a:extLst>
              <a:ext uri="{FF2B5EF4-FFF2-40B4-BE49-F238E27FC236}">
                <a16:creationId xmlns:a16="http://schemas.microsoft.com/office/drawing/2014/main" id="{85F62FA6-B044-8D2E-5126-AFD98AED0EF9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2365375" y="5932488"/>
            <a:ext cx="4127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8ED2707-7945-4F08-846E-87B7257B42BA}" type="datetime'''''''2''''''''''''''''''''''0''''''3''''''''''0''''''F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0F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64" name="Rectangle 22">
            <a:extLst>
              <a:ext uri="{FF2B5EF4-FFF2-40B4-BE49-F238E27FC236}">
                <a16:creationId xmlns:a16="http://schemas.microsoft.com/office/drawing/2014/main" id="{D2A08320-357B-1BD0-B20F-1ACB5F99F4DE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3316288" y="5932488"/>
            <a:ext cx="411163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627645-8343-4938-ACB7-F2997D09516B}" type="datetime'''''2''''''''''''''''''''0''''''''''34F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4F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69" name="Rectangle 23">
            <a:extLst>
              <a:ext uri="{FF2B5EF4-FFF2-40B4-BE49-F238E27FC236}">
                <a16:creationId xmlns:a16="http://schemas.microsoft.com/office/drawing/2014/main" id="{299B5E56-B54C-40C0-9E6B-62C5D2A28388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4264025" y="5932488"/>
            <a:ext cx="4127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CCB83E0-47BC-4EF4-A20E-0D3133D2B0DB}" type="datetime'2''''''''''03''''8''''''''''''''''F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8F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1" name="Rectangle 66">
            <a:extLst>
              <a:ext uri="{FF2B5EF4-FFF2-40B4-BE49-F238E27FC236}">
                <a16:creationId xmlns:a16="http://schemas.microsoft.com/office/drawing/2014/main" id="{8423C4C8-BAA9-FB72-4CFC-CF26BBEA293E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4705350" y="4551363"/>
            <a:ext cx="179388" cy="1333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2" name="Rectangle 67">
            <a:extLst>
              <a:ext uri="{FF2B5EF4-FFF2-40B4-BE49-F238E27FC236}">
                <a16:creationId xmlns:a16="http://schemas.microsoft.com/office/drawing/2014/main" id="{AC829FE9-7CDD-FF4E-2971-4E22E7767F49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4705350" y="4754563"/>
            <a:ext cx="179388" cy="13335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3" name="Rectangle 68">
            <a:extLst>
              <a:ext uri="{FF2B5EF4-FFF2-40B4-BE49-F238E27FC236}">
                <a16:creationId xmlns:a16="http://schemas.microsoft.com/office/drawing/2014/main" id="{ACC2E147-B917-7E7D-39BF-B372CC746A8B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4705350" y="4957763"/>
            <a:ext cx="179388" cy="133350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4" name="Rectangle 69">
            <a:extLst>
              <a:ext uri="{FF2B5EF4-FFF2-40B4-BE49-F238E27FC236}">
                <a16:creationId xmlns:a16="http://schemas.microsoft.com/office/drawing/2014/main" id="{52259037-554A-057B-B532-A0A1DCFDCE1F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4705350" y="5160963"/>
            <a:ext cx="179388" cy="13335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5" name="Rectangle 14">
            <a:extLst>
              <a:ext uri="{FF2B5EF4-FFF2-40B4-BE49-F238E27FC236}">
                <a16:creationId xmlns:a16="http://schemas.microsoft.com/office/drawing/2014/main" id="{841C28A9-AB9F-F99C-E3B8-911FD88696E9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4935538" y="4546600"/>
            <a:ext cx="27463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06E0EC1-1724-492E-ADC6-B23D2BFB3241}" type="datetime'''''''''B''''''''''''''''P''''''''''''''''''''''O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BPO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6" name="Rectangle 15">
            <a:extLst>
              <a:ext uri="{FF2B5EF4-FFF2-40B4-BE49-F238E27FC236}">
                <a16:creationId xmlns:a16="http://schemas.microsoft.com/office/drawing/2014/main" id="{7E5AE522-BB2C-E33A-94C3-902A478045EA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4935538" y="4749800"/>
            <a:ext cx="65722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6B27930-4103-4748-96D8-92614BBD29C7}" type="datetime'''Con''''''''s''''''''''''ul''''t''i''''''''n''g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Consulting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7" name="Rectangle 19">
            <a:extLst>
              <a:ext uri="{FF2B5EF4-FFF2-40B4-BE49-F238E27FC236}">
                <a16:creationId xmlns:a16="http://schemas.microsoft.com/office/drawing/2014/main" id="{FC22D551-1414-34A3-CEA7-31C01CE71DEF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4935538" y="4953000"/>
            <a:ext cx="96043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254FCE-AB3A-4D17-B63E-E2CD2A899E30}" type="datetime'''I''''mp''''le''m''''en''''''t''''at''i''o''n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Implementation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8" name="Rectangle 24">
            <a:extLst>
              <a:ext uri="{FF2B5EF4-FFF2-40B4-BE49-F238E27FC236}">
                <a16:creationId xmlns:a16="http://schemas.microsoft.com/office/drawing/2014/main" id="{78F4AAFF-2F38-298A-3D63-F8DDDCA9FAAC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4935538" y="5156200"/>
            <a:ext cx="111442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9914673-3D61-4789-B6E4-BD5776289E62}" type="datetime'''Ma''nage''''d'''' se''''r''v''i''ce''''''s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Managed services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aphicFrame>
        <p:nvGraphicFramePr>
          <p:cNvPr id="118" name="Chart 3">
            <a:extLst>
              <a:ext uri="{FF2B5EF4-FFF2-40B4-BE49-F238E27FC236}">
                <a16:creationId xmlns:a16="http://schemas.microsoft.com/office/drawing/2014/main" id="{9D90E438-CBA1-4B72-8DD5-30433DC64762}"/>
              </a:ext>
            </a:extLst>
          </p:cNvPr>
          <p:cNvGraphicFramePr/>
          <p:nvPr>
            <p:custDataLst>
              <p:tags r:id="rId44"/>
            </p:custDataLst>
            <p:extLst/>
          </p:nvPr>
        </p:nvGraphicFramePr>
        <p:xfrm>
          <a:off x="6111875" y="4340225"/>
          <a:ext cx="4344988" cy="1704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0"/>
          </a:graphicData>
        </a:graphic>
      </p:graphicFrame>
      <p:cxnSp>
        <p:nvCxnSpPr>
          <p:cNvPr id="216" name="Straight Connector 93">
            <a:extLst>
              <a:ext uri="{FF2B5EF4-FFF2-40B4-BE49-F238E27FC236}">
                <a16:creationId xmlns:a16="http://schemas.microsoft.com/office/drawing/2014/main" id="{FCC024FA-56EC-DB2B-C072-1938DD254E7A}"/>
              </a:ext>
            </a:extLst>
          </p:cNvPr>
          <p:cNvCxnSpPr>
            <a:cxnSpLocks/>
          </p:cNvCxnSpPr>
          <p:nvPr>
            <p:custDataLst>
              <p:tags r:id="rId45"/>
            </p:custDataLst>
          </p:nvPr>
        </p:nvCxnSpPr>
        <p:spPr bwMode="auto">
          <a:xfrm>
            <a:off x="10379075" y="5889625"/>
            <a:ext cx="1143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7" name="Straight Connector 94">
            <a:extLst>
              <a:ext uri="{FF2B5EF4-FFF2-40B4-BE49-F238E27FC236}">
                <a16:creationId xmlns:a16="http://schemas.microsoft.com/office/drawing/2014/main" id="{43F98C35-AB8F-AAB6-D3B2-CF708B398BAE}"/>
              </a:ext>
            </a:extLst>
          </p:cNvPr>
          <p:cNvCxnSpPr>
            <a:cxnSpLocks/>
          </p:cNvCxnSpPr>
          <p:nvPr>
            <p:custDataLst>
              <p:tags r:id="rId46"/>
            </p:custDataLst>
          </p:nvPr>
        </p:nvCxnSpPr>
        <p:spPr bwMode="auto">
          <a:xfrm>
            <a:off x="10374313" y="5291138"/>
            <a:ext cx="1190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8" name="Straight Connector 95">
            <a:extLst>
              <a:ext uri="{FF2B5EF4-FFF2-40B4-BE49-F238E27FC236}">
                <a16:creationId xmlns:a16="http://schemas.microsoft.com/office/drawing/2014/main" id="{6FC9FCC6-3916-B2B4-E468-AEAE1D94FBDF}"/>
              </a:ext>
            </a:extLst>
          </p:cNvPr>
          <p:cNvCxnSpPr>
            <a:cxnSpLocks/>
          </p:cNvCxnSpPr>
          <p:nvPr>
            <p:custDataLst>
              <p:tags r:id="rId47"/>
            </p:custDataLst>
          </p:nvPr>
        </p:nvCxnSpPr>
        <p:spPr bwMode="auto">
          <a:xfrm flipV="1">
            <a:off x="10450513" y="5287963"/>
            <a:ext cx="0" cy="6048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9" name="Rectangle 44">
            <a:extLst>
              <a:ext uri="{FF2B5EF4-FFF2-40B4-BE49-F238E27FC236}">
                <a16:creationId xmlns:a16="http://schemas.microsoft.com/office/drawing/2014/main" id="{6756EC3D-D5B5-970B-B0F8-96D2313E6EE0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6215063" y="4178300"/>
            <a:ext cx="105727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Growth share [%]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0" name="Rectangle 3">
            <a:extLst>
              <a:ext uri="{FF2B5EF4-FFF2-40B4-BE49-F238E27FC236}">
                <a16:creationId xmlns:a16="http://schemas.microsoft.com/office/drawing/2014/main" id="{2F8017E1-9D4D-B38E-CA92-A25AE69C2F70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6407150" y="5932488"/>
            <a:ext cx="3111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5FAF5D-59A2-4AF0-9E65-FAE96B636D86}" type="datetime'''''''''''20''''''''''''''''''''''''''1''''''''''''''''8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8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1" name="Rectangle 12">
            <a:extLst>
              <a:ext uri="{FF2B5EF4-FFF2-40B4-BE49-F238E27FC236}">
                <a16:creationId xmlns:a16="http://schemas.microsoft.com/office/drawing/2014/main" id="{1DD322E1-6425-FC2A-13A5-56A2BED170C9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7348538" y="5932488"/>
            <a:ext cx="33337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4C4FF9-8133-4778-88F9-1BA51283EE08}" type="datetime'''''''''''''''''''''''20''''2''''''2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2" name="Rectangle 13">
            <a:extLst>
              <a:ext uri="{FF2B5EF4-FFF2-40B4-BE49-F238E27FC236}">
                <a16:creationId xmlns:a16="http://schemas.microsoft.com/office/drawing/2014/main" id="{644DEB31-30D8-7745-21CD-118E34F90A8F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8262938" y="5932488"/>
            <a:ext cx="4127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C1671B-EB89-4B93-A7DF-9BF6AB0A40B7}" type="datetime'''''''2''0''''''30''''''''''''''''''''''''''''''F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0F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3" name="Rectangle 22">
            <a:extLst>
              <a:ext uri="{FF2B5EF4-FFF2-40B4-BE49-F238E27FC236}">
                <a16:creationId xmlns:a16="http://schemas.microsoft.com/office/drawing/2014/main" id="{D90AACD5-FCE9-62C4-8054-92FB9F7AD8AE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9217025" y="5932488"/>
            <a:ext cx="411163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DB3A15-E8BC-406A-983D-6D0717618F3E}" type="datetime'''2''''''''03''''''''''''''4''''''''''''''''F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4F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4" name="Rectangle 23">
            <a:extLst>
              <a:ext uri="{FF2B5EF4-FFF2-40B4-BE49-F238E27FC236}">
                <a16:creationId xmlns:a16="http://schemas.microsoft.com/office/drawing/2014/main" id="{1F4F6A96-580E-91EA-F983-AF63791FF6E8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10167938" y="5932488"/>
            <a:ext cx="4127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B452032-D975-4035-A27D-AC0EBD0CE905}" type="datetime'2''0''''''''''''38''''''''''F''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8F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5" name="Oval 92">
            <a:extLst>
              <a:ext uri="{FF2B5EF4-FFF2-40B4-BE49-F238E27FC236}">
                <a16:creationId xmlns:a16="http://schemas.microsoft.com/office/drawing/2014/main" id="{FD2453E7-EAF3-0A0F-64DA-6AB870490B14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9750425" y="5416550"/>
            <a:ext cx="1401763" cy="431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MS target twi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by 2038 (</a:t>
            </a:r>
            <a:fld id="{AD59D20E-4FCD-4404-A9C7-ADE78DBFB211}" type="datetime'''''''''''''+4''''''3''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+43</a:t>
            </a:fld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%)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6" name="Rectangle 66">
            <a:extLst>
              <a:ext uri="{FF2B5EF4-FFF2-40B4-BE49-F238E27FC236}">
                <a16:creationId xmlns:a16="http://schemas.microsoft.com/office/drawing/2014/main" id="{419791A8-14FE-F5F9-356A-7F5E37F00EA1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10514013" y="4551363"/>
            <a:ext cx="179388" cy="1333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7" name="Rectangle 67">
            <a:extLst>
              <a:ext uri="{FF2B5EF4-FFF2-40B4-BE49-F238E27FC236}">
                <a16:creationId xmlns:a16="http://schemas.microsoft.com/office/drawing/2014/main" id="{AB168248-E446-085D-D4FB-C78D32528302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10514013" y="4754563"/>
            <a:ext cx="179388" cy="13335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8" name="Rectangle 68">
            <a:extLst>
              <a:ext uri="{FF2B5EF4-FFF2-40B4-BE49-F238E27FC236}">
                <a16:creationId xmlns:a16="http://schemas.microsoft.com/office/drawing/2014/main" id="{5EECF321-3001-E929-D4A5-4B14C0A74650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10514013" y="4957763"/>
            <a:ext cx="179388" cy="133350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9" name="Rectangle 69">
            <a:extLst>
              <a:ext uri="{FF2B5EF4-FFF2-40B4-BE49-F238E27FC236}">
                <a16:creationId xmlns:a16="http://schemas.microsoft.com/office/drawing/2014/main" id="{4522EE1A-A0F9-5E73-58C1-DB78F04F28E2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10514013" y="5160963"/>
            <a:ext cx="179388" cy="13335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30" name="Rectangle 14">
            <a:extLst>
              <a:ext uri="{FF2B5EF4-FFF2-40B4-BE49-F238E27FC236}">
                <a16:creationId xmlns:a16="http://schemas.microsoft.com/office/drawing/2014/main" id="{527F1BED-7FD0-670B-3C79-0C225D44806E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10744200" y="4546600"/>
            <a:ext cx="27463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39F00FD-2E36-4ACD-BD95-05339794B954}" type="datetime'''''''''''B''''''''''''''P''''''''''''''''''O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BPO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31" name="Rectangle 15">
            <a:extLst>
              <a:ext uri="{FF2B5EF4-FFF2-40B4-BE49-F238E27FC236}">
                <a16:creationId xmlns:a16="http://schemas.microsoft.com/office/drawing/2014/main" id="{69CD3CAC-1B1A-63CA-1B71-539A11BF35AD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10744200" y="4749800"/>
            <a:ext cx="65722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DF5CBB3-7CCB-4524-B9BA-BF8F9E036A97}" type="datetime'''C''''''''''on''''''''''''''''''''s''u''l''ti''n''''''g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Consulting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32" name="Rectangle 19">
            <a:extLst>
              <a:ext uri="{FF2B5EF4-FFF2-40B4-BE49-F238E27FC236}">
                <a16:creationId xmlns:a16="http://schemas.microsoft.com/office/drawing/2014/main" id="{F78DCF6D-7EE9-8C2B-932F-8883E16337A4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10744200" y="4953000"/>
            <a:ext cx="96043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69241DA-138F-4286-94AA-86974C70DCB2}" type="datetime'I''''mp''l''''''''em''''''e''''nta''''t''''''io''''''n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Implementation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33" name="Rectangle 24">
            <a:extLst>
              <a:ext uri="{FF2B5EF4-FFF2-40B4-BE49-F238E27FC236}">
                <a16:creationId xmlns:a16="http://schemas.microsoft.com/office/drawing/2014/main" id="{07429870-438D-0BAE-AA5B-4F56FE6E7600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10744200" y="5156200"/>
            <a:ext cx="111442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F858590-921A-4E23-A173-14524DD696B5}" type="datetime'''''''''M''a''''n''''age''d'''''''' ''ser''v''''i''''''''ces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Managed services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5" name="Rectangle 18">
            <a:extLst>
              <a:ext uri="{FF2B5EF4-FFF2-40B4-BE49-F238E27FC236}">
                <a16:creationId xmlns:a16="http://schemas.microsoft.com/office/drawing/2014/main" id="{BBAF0906-A189-4598-92D7-D5A037DC24A2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charts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pen a chart's internal datashe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ny empty space in the chart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 annotation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e.g., CAGR arrows, difference arrows)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ight-click a chart or a chart feature to open the context menu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 the style and formattin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f a chart or a feature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lick the chart or feature to open the mini toolbar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228B930-A5E8-3AD1-81B8-D992C321BA8F}"/>
              </a:ext>
            </a:extLst>
          </p:cNvPr>
          <p:cNvCxnSpPr/>
          <p:nvPr>
            <p:custDataLst>
              <p:tags r:id="rId63"/>
            </p:custDataLst>
          </p:nvPr>
        </p:nvCxnSpPr>
        <p:spPr bwMode="gray">
          <a:xfrm>
            <a:off x="673100" y="3544888"/>
            <a:ext cx="0" cy="428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EEF9F32D-9973-95A1-ABA8-B612AE84B6BB}"/>
              </a:ext>
            </a:extLst>
          </p:cNvPr>
          <p:cNvCxnSpPr/>
          <p:nvPr>
            <p:custDataLst>
              <p:tags r:id="rId64"/>
            </p:custDataLst>
          </p:nvPr>
        </p:nvCxnSpPr>
        <p:spPr bwMode="gray">
          <a:xfrm>
            <a:off x="1147763" y="3544888"/>
            <a:ext cx="0" cy="428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DC8D5E2-267E-BCBA-80B2-2DFD0FD6ADA6}"/>
              </a:ext>
            </a:extLst>
          </p:cNvPr>
          <p:cNvCxnSpPr/>
          <p:nvPr>
            <p:custDataLst>
              <p:tags r:id="rId65"/>
            </p:custDataLst>
          </p:nvPr>
        </p:nvCxnSpPr>
        <p:spPr bwMode="gray">
          <a:xfrm>
            <a:off x="1622425" y="3544888"/>
            <a:ext cx="0" cy="428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F25D921-5AEF-A895-D711-9653AA15C5F9}"/>
              </a:ext>
            </a:extLst>
          </p:cNvPr>
          <p:cNvCxnSpPr/>
          <p:nvPr>
            <p:custDataLst>
              <p:tags r:id="rId66"/>
            </p:custDataLst>
          </p:nvPr>
        </p:nvCxnSpPr>
        <p:spPr bwMode="gray">
          <a:xfrm>
            <a:off x="2097088" y="3544888"/>
            <a:ext cx="0" cy="428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56B4B32-3A68-E866-7643-73FFC19E351A}"/>
              </a:ext>
            </a:extLst>
          </p:cNvPr>
          <p:cNvCxnSpPr/>
          <p:nvPr>
            <p:custDataLst>
              <p:tags r:id="rId67"/>
            </p:custDataLst>
          </p:nvPr>
        </p:nvCxnSpPr>
        <p:spPr bwMode="gray">
          <a:xfrm>
            <a:off x="2571750" y="3544888"/>
            <a:ext cx="0" cy="428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DEE1881-6F29-FDC7-7078-AEA433226EA3}"/>
              </a:ext>
            </a:extLst>
          </p:cNvPr>
          <p:cNvCxnSpPr/>
          <p:nvPr>
            <p:custDataLst>
              <p:tags r:id="rId68"/>
            </p:custDataLst>
          </p:nvPr>
        </p:nvCxnSpPr>
        <p:spPr bwMode="gray">
          <a:xfrm>
            <a:off x="3046413" y="3544888"/>
            <a:ext cx="0" cy="428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155F305-3318-16B3-024E-155470953A18}"/>
              </a:ext>
            </a:extLst>
          </p:cNvPr>
          <p:cNvCxnSpPr/>
          <p:nvPr>
            <p:custDataLst>
              <p:tags r:id="rId69"/>
            </p:custDataLst>
          </p:nvPr>
        </p:nvCxnSpPr>
        <p:spPr bwMode="gray">
          <a:xfrm>
            <a:off x="3521075" y="3544888"/>
            <a:ext cx="0" cy="428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4111AFC-FFCA-03A0-7D6A-142C6C3731A9}"/>
              </a:ext>
            </a:extLst>
          </p:cNvPr>
          <p:cNvCxnSpPr/>
          <p:nvPr>
            <p:custDataLst>
              <p:tags r:id="rId70"/>
            </p:custDataLst>
          </p:nvPr>
        </p:nvCxnSpPr>
        <p:spPr bwMode="gray">
          <a:xfrm>
            <a:off x="3995738" y="3544888"/>
            <a:ext cx="0" cy="428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EAC0E07-BEA3-B582-CD7D-C275379C776B}"/>
              </a:ext>
            </a:extLst>
          </p:cNvPr>
          <p:cNvCxnSpPr/>
          <p:nvPr>
            <p:custDataLst>
              <p:tags r:id="rId71"/>
            </p:custDataLst>
          </p:nvPr>
        </p:nvCxnSpPr>
        <p:spPr bwMode="gray">
          <a:xfrm>
            <a:off x="4470400" y="3544888"/>
            <a:ext cx="0" cy="428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19" name="Chart 3">
            <a:extLst>
              <a:ext uri="{FF2B5EF4-FFF2-40B4-BE49-F238E27FC236}">
                <a16:creationId xmlns:a16="http://schemas.microsoft.com/office/drawing/2014/main" id="{4263A9E4-B523-4A46-BEAE-DA22581E08AA}"/>
              </a:ext>
            </a:extLst>
          </p:cNvPr>
          <p:cNvGraphicFramePr/>
          <p:nvPr>
            <p:custDataLst>
              <p:tags r:id="rId72"/>
            </p:custDataLst>
            <p:extLst/>
          </p:nvPr>
        </p:nvGraphicFramePr>
        <p:xfrm>
          <a:off x="280988" y="1857375"/>
          <a:ext cx="4271962" cy="1912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1"/>
          </a:graphicData>
        </a:graphic>
      </p:graphicFrame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66DF1221-9128-F869-545A-34DD2EE5B75F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512763" y="3630613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B53D0C2-88A5-4664-AAB5-A8A668E2688A}" type="datetime'''''''''''''''''''''2''''''''02''''''''''4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9900B933-2A2E-6183-EFF9-2A9BEF1913EF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987425" y="3630613"/>
            <a:ext cx="3206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9C24790-D32D-4808-ADB8-90C234AA73E6}" type="datetime'''''''''''''''''''''2''''''''''''''''''0''''26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6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5807DE9D-8D5E-F4B9-01D2-6CC476655EED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1460500" y="3630613"/>
            <a:ext cx="323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30C21A4-F06C-4812-A8C0-06B602D5ED04}" type="datetime'''''''''''20''''''''2''''''''''''''''''''8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8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AAD2707E-148F-B31A-D1AD-B48710A413FD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1936750" y="3630613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9D177F3-F577-45E2-A78A-61BFFC0F51DC}" type="datetime'''''''''''2''''0''''''''3''''''''''0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3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52FCD025-0F08-EFF5-E310-A10201D1765D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2413000" y="3630613"/>
            <a:ext cx="319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EEF2058-B4D1-4B21-9B2D-AA19035936FF}" type="datetime'''''''''''''''''''''''''''''''''2''''''0''3''''2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3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2D6A6B21-0684-8E50-5A3E-4C159EF38C32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2886075" y="3630613"/>
            <a:ext cx="3206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0F7C900-AC8D-42DB-9FAB-B917B8B6BB14}" type="datetime'''''2''''''''''''''0''''''3''''4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3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4E518581-91E9-8140-956F-0E02B4ABD51B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3362325" y="3630613"/>
            <a:ext cx="319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921897E-491A-4637-B374-24BD4FBC2CA7}" type="datetime'''''''''''''''''''''2''''''''''''0''''''''''''''''''3''''''6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36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63E8975B-5BC6-C002-AA49-909DB2E9E820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3835400" y="3630613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7F8DCD8-34E0-46B2-84E1-74ED9D18BE16}" type="datetime'''''''''2''''''''''''''''''''''0''3''8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38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35E27561-7EA5-0A83-1023-2C3ED066E069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4308475" y="3630613"/>
            <a:ext cx="3254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3C8DCEE-58D0-4CE4-9F9E-376D7C49AE1E}" type="datetime'''''''2''''''''''''''''''''''''0''''''''''4''''''0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4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D3EFA7A6-F44C-B394-21E8-53FD0CDC8E7D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>
            <a:off x="4233863" y="2360613"/>
            <a:ext cx="6889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Straight Connector 13">
            <a:extLst>
              <a:ext uri="{FF2B5EF4-FFF2-40B4-BE49-F238E27FC236}">
                <a16:creationId xmlns:a16="http://schemas.microsoft.com/office/drawing/2014/main" id="{3A479C3F-7E76-6D1B-2601-DF51E0CD5F7E}"/>
              </a:ext>
            </a:extLst>
          </p:cNvPr>
          <p:cNvCxnSpPr>
            <a:cxnSpLocks/>
          </p:cNvCxnSpPr>
          <p:nvPr>
            <p:custDataLst>
              <p:tags r:id="rId83"/>
            </p:custDataLst>
          </p:nvPr>
        </p:nvCxnSpPr>
        <p:spPr bwMode="auto">
          <a:xfrm>
            <a:off x="4233863" y="2641600"/>
            <a:ext cx="6889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3" name="Straight Connector 14">
            <a:extLst>
              <a:ext uri="{FF2B5EF4-FFF2-40B4-BE49-F238E27FC236}">
                <a16:creationId xmlns:a16="http://schemas.microsoft.com/office/drawing/2014/main" id="{3DFECC06-BCB9-244A-63D5-2F11FE560EC7}"/>
              </a:ext>
            </a:extLst>
          </p:cNvPr>
          <p:cNvCxnSpPr>
            <a:cxnSpLocks/>
          </p:cNvCxnSpPr>
          <p:nvPr>
            <p:custDataLst>
              <p:tags r:id="rId84"/>
            </p:custDataLst>
          </p:nvPr>
        </p:nvCxnSpPr>
        <p:spPr bwMode="auto">
          <a:xfrm>
            <a:off x="4879975" y="2357437"/>
            <a:ext cx="0" cy="2873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60A6D0AE-5125-A0A4-40C4-DB6D9318E37C}"/>
              </a:ext>
            </a:extLst>
          </p:cNvPr>
          <p:cNvCxnSpPr/>
          <p:nvPr>
            <p:custDataLst>
              <p:tags r:id="rId85"/>
            </p:custDataLst>
          </p:nvPr>
        </p:nvCxnSpPr>
        <p:spPr bwMode="auto">
          <a:xfrm flipV="1">
            <a:off x="4233863" y="2432050"/>
            <a:ext cx="0" cy="174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5" name="Rectangle 185">
            <a:extLst>
              <a:ext uri="{FF2B5EF4-FFF2-40B4-BE49-F238E27FC236}">
                <a16:creationId xmlns:a16="http://schemas.microsoft.com/office/drawing/2014/main" id="{C65739CF-74EC-ADA2-7A9A-11D6A4B52483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384174" y="1860550"/>
            <a:ext cx="68103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Growth [%]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7" name="Oval 11">
            <a:extLst>
              <a:ext uri="{FF2B5EF4-FFF2-40B4-BE49-F238E27FC236}">
                <a16:creationId xmlns:a16="http://schemas.microsoft.com/office/drawing/2014/main" id="{094AD190-D67E-ED5A-9B9C-46E659CDA4F0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4448174" y="2689225"/>
            <a:ext cx="863600" cy="431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D&amp;A gap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</a:t>
            </a:r>
            <a:fld id="{68DB35B1-2047-48AA-9083-2ADAD4253ED4}" type="datetime'''''''''''''''''''''5''''''''''''''''p''p''''''''''''''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pp</a:t>
            </a:fld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)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138" name="Straight Connector 6">
            <a:extLst>
              <a:ext uri="{FF2B5EF4-FFF2-40B4-BE49-F238E27FC236}">
                <a16:creationId xmlns:a16="http://schemas.microsoft.com/office/drawing/2014/main" id="{9751EE9E-4E88-8EF7-0FC1-55D1FDD5F8BD}"/>
              </a:ext>
            </a:extLst>
          </p:cNvPr>
          <p:cNvCxnSpPr>
            <a:cxnSpLocks/>
          </p:cNvCxnSpPr>
          <p:nvPr>
            <p:custDataLst>
              <p:tags r:id="rId88"/>
            </p:custDataLst>
          </p:nvPr>
        </p:nvCxnSpPr>
        <p:spPr bwMode="gray">
          <a:xfrm>
            <a:off x="5080000" y="2312988"/>
            <a:ext cx="160338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9" name="Straight Connector 8">
            <a:extLst>
              <a:ext uri="{FF2B5EF4-FFF2-40B4-BE49-F238E27FC236}">
                <a16:creationId xmlns:a16="http://schemas.microsoft.com/office/drawing/2014/main" id="{B2F85E03-FA8C-42EC-EC4D-29E90BFAA941}"/>
              </a:ext>
            </a:extLst>
          </p:cNvPr>
          <p:cNvCxnSpPr>
            <a:cxnSpLocks/>
          </p:cNvCxnSpPr>
          <p:nvPr>
            <p:custDataLst>
              <p:tags r:id="rId89"/>
            </p:custDataLst>
          </p:nvPr>
        </p:nvCxnSpPr>
        <p:spPr bwMode="gray">
          <a:xfrm>
            <a:off x="5080000" y="2516188"/>
            <a:ext cx="160338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Straight Connector 9">
            <a:extLst>
              <a:ext uri="{FF2B5EF4-FFF2-40B4-BE49-F238E27FC236}">
                <a16:creationId xmlns:a16="http://schemas.microsoft.com/office/drawing/2014/main" id="{2EB63DDE-59D4-757E-8B98-506C9DEB4E61}"/>
              </a:ext>
            </a:extLst>
          </p:cNvPr>
          <p:cNvCxnSpPr>
            <a:cxnSpLocks/>
          </p:cNvCxnSpPr>
          <p:nvPr>
            <p:custDataLst>
              <p:tags r:id="rId90"/>
            </p:custDataLst>
          </p:nvPr>
        </p:nvCxnSpPr>
        <p:spPr bwMode="gray">
          <a:xfrm>
            <a:off x="5080000" y="2719388"/>
            <a:ext cx="160338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3" name="Rectangle 27">
            <a:extLst>
              <a:ext uri="{FF2B5EF4-FFF2-40B4-BE49-F238E27FC236}">
                <a16:creationId xmlns:a16="http://schemas.microsoft.com/office/drawing/2014/main" id="{31B90AC5-8BE6-031E-DAA5-712B372F0462}"/>
              </a:ext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5300662" y="2241550"/>
            <a:ext cx="52863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3C67530-2880-4FF8-97F7-EAF756900A45}" type="datetime'''Rev''e''''''nu''''''''''''''''''''''''''''''''e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Revenue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44" name="Rectangle 28">
            <a:extLst>
              <a:ext uri="{FF2B5EF4-FFF2-40B4-BE49-F238E27FC236}">
                <a16:creationId xmlns:a16="http://schemas.microsoft.com/office/drawing/2014/main" id="{596CB290-6A9E-BF63-2F4E-84C5231FD7A0}"/>
              </a:ext>
            </a:extLst>
          </p:cNvPr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5300663" y="2444750"/>
            <a:ext cx="690563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3E2AB1-9106-4EAA-8AB8-AB4EE35A381D}" type="datetime'''E''''V''''''''/''''E''''''''''''''''''''BI''T''D''''''A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EV/EBITDA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46" name="Rectangle 46">
            <a:extLst>
              <a:ext uri="{FF2B5EF4-FFF2-40B4-BE49-F238E27FC236}">
                <a16:creationId xmlns:a16="http://schemas.microsoft.com/office/drawing/2014/main" id="{86535DBA-FA76-84DD-006E-D13D53B50533}"/>
              </a:ext>
            </a:extLst>
          </p:cNvPr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5300663" y="2647950"/>
            <a:ext cx="50482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9852389-45BD-468D-BB6B-BD96C2ED33DD}" type="datetime'''''''E''''V/''''''''''''''''''''E''''BI''''T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EV/EBIT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BBB942C9-80F7-44FE-B3AE-6FB4FE9AA46F}"/>
              </a:ext>
            </a:extLst>
          </p:cNvPr>
          <p:cNvSpPr txBox="1"/>
          <p:nvPr/>
        </p:nvSpPr>
        <p:spPr>
          <a:xfrm>
            <a:off x="5210176" y="1027416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rgbClr val="575757"/>
                </a:solidFill>
              </a:rPr>
              <a:t>本页为各种类图表集合模板，不适用于直接填充，因此暂时未开发占位符</a:t>
            </a:r>
          </a:p>
        </p:txBody>
      </p:sp>
    </p:spTree>
    <p:extLst>
      <p:ext uri="{BB962C8B-B14F-4D97-AF65-F5344CB8AC3E}">
        <p14:creationId xmlns:p14="http://schemas.microsoft.com/office/powerpoint/2010/main" val="6805810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pumJ4jzt9gil0ddU6S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KyL5hxv2b.e4sNf6Uz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B9t65p9NCslZofHTN2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ZpTlVj9.bQcEkhHZxJ8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4UV9_hKHtzUEkDXvn29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0Far2Hss9lCgW7gKE2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5jRSBsMA7n1GGFVx6D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osXwo1JLPawT47RjVQS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uLeTEU37_261Srq_Qqn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a4FCWGO4d49hsU7dUB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XpSTuQa7Ti5vv_r67H6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TiY14ah2ho5A5b1v0d8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AR9H0CqWFecRdmldW1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YTTIhG_IeTHEOeQgOO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z6uBEAYwhW46nzy0DY8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mjL_85oP829n9HowEay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QeCD1XIHp3MbkXZOBj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8iqWYqyXCOHIvwkLXAF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EGQbRu51Xo2VKOq3iJk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y8gru9sC.mL0nRSrEQ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Om1aT1NrbGFXpn2JmTb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fmR8MOfL4EWb0GCTvvq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jhrZSeXSLCqq_5.6fzD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4l6lZG7UR0yJMHmw4eH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BS5fu8A9f.Poya6sUwc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WmPHWR7Lc13097J6Jf1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Xq_XknG3s7msg8SmxA5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_iXJp2ZiKQEaov305oo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mFy.2jMkEaaUJuS9go3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3T.oAhAeg7XQLHx6gt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bwqUsYqsolWMUiCcLgy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9eP2N1GeCIICGojj3ms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NoqICtn3xHJVYplvqUu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qMkWkOwvXYpyZLLYmmJ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D_bw1eu7XOkky6NG_BI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vuB9hJGvsGBgx4PW_sE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clykiPUl61qvytCvwL0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WgQZaWPrQ.FzlYbDvUx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C6q11mZZZUXU6HyHVlV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SFepYXfWRxbYHZ.caG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Ty4CqOTSEv3VFvTjiSI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7JmY5fl9W.bEoHgPmh7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Iumfaj4Bbo6FebYnARR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An3HFsYYpw1xinqVbKt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lFepG3XdBZIXlWcbo0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xv__wQmZ313Hhg05vFC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i1Sb3oA_wS943G1E.qd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9QGNnuc4TdCAwvASBVg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BFP9nxFyITjPCUo1QA5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oSv6xZhPsNy1.IDn2a.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TdDlunZb0qbOV_cunbV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SQAX.eeAlWu9kRECQLh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zB7tYJY1tdOH3N3Ejqo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CnbRHs.6PXuowfEUEy8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mnQ_efMmNe9xvfGbb8E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LmZ4X_ZlzHKqtzBo1mN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D5TDpMVvQArv9ruPoj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BY0X22j.IzXt9fHtk43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.abvBw7x6eSdQONiAQg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o6.41ilv62nzbtd89zZ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R82vtle6EaSZqcVYop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cCZozZMM68tmJ1BQfMv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Av3DczE28ajNW3wr1Ls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WdQD6QhyId6Or3gL8jw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EuoukC5_975ssErlm8V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zfKkXrjjU7geNEcTb72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9bh9EFyvNQKDLekpVM8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HQbs.Ez6GLKPQym1JrQ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1lVsw9OLkdh8rxiriYd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Jpt7Kt4LsCrhzeot6Jh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QgkJ6Og7w9PQeRu_CU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qDBn8vOQ_6koqSFMvm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1tRKqrODGpDdxN6gf5j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tPVwtyB7OJ4epNljq7E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m0QNxtX3tWhcVayj7ma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iad7TtPF7CQAfR5hOWm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cuXXBvalCAwkHGuJR2G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70CWdrsXGQsExdj83iQ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aj_LcrWouodWcb35LBS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AIC5kKwsvVAkHPdea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yyD5nP23.9R6WiFaGL_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Ura2HXUCj2Dt9eS7aE.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4h5OATIYUB_uA8YqcwY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irYOK7Y0BP1.NtPGBPz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8BR8rgAxq2QWHRN9yzq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Y1SqDqwIves3tzAQXlJ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KqNU2g_T7wSAg1cfKEA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e265ndLofmVBEfdCDOi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RDRbrP7nvm5W1ctqMIo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aHrmkhExkoLV90RydjG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K.VvFtepMpUVrP_uEpHQ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2</Words>
  <Application>Microsoft Office PowerPoint</Application>
  <PresentationFormat>宽屏</PresentationFormat>
  <Paragraphs>6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Line, area, area 100%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ne, area, area 100%</dc:title>
  <dc:creator>后梦雪</dc:creator>
  <cp:lastModifiedBy>后梦雪</cp:lastModifiedBy>
  <cp:revision>1</cp:revision>
  <dcterms:created xsi:type="dcterms:W3CDTF">2025-09-10T07:06:03Z</dcterms:created>
  <dcterms:modified xsi:type="dcterms:W3CDTF">2025-09-10T07:06:46Z</dcterms:modified>
</cp:coreProperties>
</file>